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8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9.xml" ContentType="application/vnd.openxmlformats-officedocument.presentationml.notesSlide+xml"/>
  <Override PartName="/ppt/comments/comment3.xml" ContentType="application/vnd.openxmlformats-officedocument.presentationml.comments+xml"/>
  <Override PartName="/ppt/notesSlides/notesSlide10.xml" ContentType="application/vnd.openxmlformats-officedocument.presentationml.notesSlide+xml"/>
  <Override PartName="/ppt/comments/comment4.xml" ContentType="application/vnd.openxmlformats-officedocument.presentationml.comments+xml"/>
  <Override PartName="/ppt/notesSlides/notesSlide11.xml" ContentType="application/vnd.openxmlformats-officedocument.presentationml.notesSlide+xml"/>
  <Override PartName="/ppt/comments/comment5.xml" ContentType="application/vnd.openxmlformats-officedocument.presentationml.comments+xml"/>
  <Override PartName="/ppt/notesSlides/notesSlide12.xml" ContentType="application/vnd.openxmlformats-officedocument.presentationml.notesSlide+xml"/>
  <Override PartName="/ppt/comments/comment6.xml" ContentType="application/vnd.openxmlformats-officedocument.presentationml.comment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</p:sldMasterIdLst>
  <p:notesMasterIdLst>
    <p:notesMasterId r:id="rId21"/>
  </p:notesMasterIdLst>
  <p:handoutMasterIdLst>
    <p:handoutMasterId r:id="rId22"/>
  </p:handoutMasterIdLst>
  <p:sldIdLst>
    <p:sldId id="321" r:id="rId5"/>
    <p:sldId id="2145705986" r:id="rId6"/>
    <p:sldId id="2145706104" r:id="rId7"/>
    <p:sldId id="2145706110" r:id="rId8"/>
    <p:sldId id="2145706088" r:id="rId9"/>
    <p:sldId id="2145706089" r:id="rId10"/>
    <p:sldId id="304" r:id="rId11"/>
    <p:sldId id="2145706077" r:id="rId12"/>
    <p:sldId id="2145706067" r:id="rId13"/>
    <p:sldId id="2145706107" r:id="rId14"/>
    <p:sldId id="2145706075" r:id="rId15"/>
    <p:sldId id="2145706111" r:id="rId16"/>
    <p:sldId id="2145706106" r:id="rId17"/>
    <p:sldId id="2145706108" r:id="rId18"/>
    <p:sldId id="2145706109" r:id="rId19"/>
    <p:sldId id="2145705823" r:id="rId20"/>
  </p:sldIdLst>
  <p:sldSz cx="12192000" cy="6858000"/>
  <p:notesSz cx="6858000" cy="91440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egion" initials="L" lastIdx="49" clrIdx="0">
    <p:extLst>
      <p:ext uri="{19B8F6BF-5375-455C-9EA6-DF929625EA0E}">
        <p15:presenceInfo xmlns:p15="http://schemas.microsoft.com/office/powerpoint/2012/main" userId="Legion" providerId="None"/>
      </p:ext>
    </p:extLst>
  </p:cmAuthor>
  <p:cmAuthor id="2" name="Dang Tai" initials="DT" lastIdx="24" clrIdx="1">
    <p:extLst>
      <p:ext uri="{19B8F6BF-5375-455C-9EA6-DF929625EA0E}">
        <p15:presenceInfo xmlns:p15="http://schemas.microsoft.com/office/powerpoint/2012/main" userId="33320edc9f915d55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E3E2"/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195" autoAdjust="0"/>
    <p:restoredTop sz="90886" autoAdjust="0"/>
  </p:normalViewPr>
  <p:slideViewPr>
    <p:cSldViewPr snapToGrid="0">
      <p:cViewPr varScale="1">
        <p:scale>
          <a:sx n="102" d="100"/>
          <a:sy n="102" d="100"/>
        </p:scale>
        <p:origin x="114" y="15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7T09:58:50.526" idx="1">
    <p:pos x="5481" y="2302"/>
    <p:text>## list mentor default khi chưa có filter sẽ sort theo tên 
```sql 
SELECT 
    u.id,
    u.name,
    l.name as location,
    j.name AS jobtitle,
    u.role_id,
    COALESCE(AVG(f.rating_star), 0) AS average_rating
FROM [User] u
JOIN Jobtitle j ON u.jobtitle_id = j.id
JOIN Location l on u.location_id = l.id
LEFT JOIN Program p ON u.id = p.user_id
LEFT JOIN Challenge c ON u.id = c.user_id
LEFT JOIN Course co ON u.id = co.user_id
LEFT JOIN Review f ON f.source_id = p.id OR f.source_id = c.id OR f.source_id = co.id
WHERE u.role_id = (SELECT setting_value FROM GetSettingValue('Role','Mentor') )
GROUP BY u.id, u.name, l.name, j.name, u.role_id
ORDER BY u.name ASC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16:33.112" idx="6">
    <p:pos x="4712" y="2223"/>
    <p:text># lay tat ca location 
```sql
SELECT name from location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5:56:34.593" idx="35">
    <p:pos x="4778" y="2918"/>
    <p:text/>
    <p:extLst>
      <p:ext uri="{C676402C-5697-4E1C-873F-D02D1690AC5C}">
        <p15:threadingInfo xmlns:p15="http://schemas.microsoft.com/office/powerpoint/2012/main" timeZoneBias="-420"/>
      </p:ext>
    </p:extLst>
  </p:cm>
  <p:cm authorId="1" dt="2024-06-28T15:56:59.868" idx="36">
    <p:pos x="4778" y="3014"/>
    <p:text>SELECT * FROM Jobtitle</p:text>
    <p:extLst>
      <p:ext uri="{C676402C-5697-4E1C-873F-D02D1690AC5C}">
        <p15:threadingInfo xmlns:p15="http://schemas.microsoft.com/office/powerpoint/2012/main" timeZoneBias="-420">
          <p15:parentCm authorId="1" idx="35"/>
        </p15:threadingInfo>
      </p:ext>
    </p:extLst>
  </p:cm>
  <p:cm authorId="1" dt="2024-07-02T10:48:41.882" idx="37">
    <p:pos x="5764" y="2296"/>
    <p:text>## lay mentor rating theo location va top rating
```sql
SELECT 
	u.id, u.name, l.name as location, u.role_id , j.name as jobtitle
	,COALESCE(AVG(f.rating_star),0) as average_rating
FROM [User] u
JOIN Jobtitle j ON  u.jobtitle_id = j.id
JOIN Location l on u.location_id = l.id
LEFT JOIN Program p ON u.id = p.user_id
LEFT JOIN Challenge c ON u.id = c.user_id
LEFT JOIN Course co ON u.id = co.user_id
LEFT JOIN Review f ON f.source_id = p.id OR f.source_id = c.id OR f.source_id = co.id
WHERE l.name ='Ho Chi Minh' AND u.role_id = (SELECT setting_value FROM GetSettingValue('Role','Mentor') )
GROUP BY u.id, u.name, l.name, j.name, u.role_id
ORDER BY average_rating DESC;
```</p:text>
    <p:extLst>
      <p:ext uri="{C676402C-5697-4E1C-873F-D02D1690AC5C}">
        <p15:threadingInfo xmlns:p15="http://schemas.microsoft.com/office/powerpoint/2012/main" timeZoneBias="-420"/>
      </p:ext>
    </p:extLst>
  </p:cm>
  <p:cm authorId="1" dt="2024-07-02T10:49:41.891" idx="38">
    <p:pos x="6380" y="2286"/>
    <p:text>## Lay mentor theo ten company
SELECT 
    u.name,
    l.name as location,
    c.name as company,
    c.img as imgcompany,
    COALESCE(AVG(f.rating_star), 0) as average_rating
FROM [User] u
JOIN experience e ON u.id = e.user_id
JOIN company c ON e.company_id = c.id
JOIN Location l ON u.location_id = l.id
LEFT JOIN Program p ON u.id = p.user_id
LEFT JOIN Challenge ch ON u.id = ch.user_id
LEFT JOIN Course co ON u.id = co.user_id
LEFT JOIN Review f ON f.source_id = p.id OR f.source_id = ch.id OR f.source_id = co.id
WHERE c.name = 'bbv' and u.role_id = (SELECT setting_value FROM GetSettingValue('Role','Mentor') )
GROUP BY u.name, l.name, c.name, c.img;
```</p:text>
    <p:extLst>
      <p:ext uri="{C676402C-5697-4E1C-873F-D02D1690AC5C}">
        <p15:threadingInfo xmlns:p15="http://schemas.microsoft.com/office/powerpoint/2012/main" timeZoneBias="-420"/>
      </p:ext>
    </p:extLst>
  </p:cm>
  <p:cm authorId="1" dt="2024-07-02T10:51:44.646" idx="39">
    <p:pos x="6074" y="2283"/>
    <p:text>## Lay mentor theo top rating (program , challenges , course)
```sql
SELECT 
    u.id,
    u.name,
    l.name as location,
    j.name AS jobtitle,
    u.role_id,
    COALESCE(AVG(f.rating_star), 0) AS average_rating
FROM [User] u
JOIN Jobtitle j ON u.jobtitle_id = j.id
JOIN Location l on u.location_id = l.id
LEFT JOIN Program p ON u.id = p.user_id
LEFT JOIN Challenge c ON u.id = c.user_id
LEFT JOIN Course co ON u.id = co.user_id
LEFT JOIN Review f ON f.source_id = p.id OR f.source_id = c.id OR f.source_id = co.id
WHERE u.role_id = '5'
GROUP BY u.id, u.name, u.location_id,l.name, j.name, u.role_id
ORDER BY average_rating DESC;
```</p:text>
    <p:extLst>
      <p:ext uri="{C676402C-5697-4E1C-873F-D02D1690AC5C}">
        <p15:threadingInfo xmlns:p15="http://schemas.microsoft.com/office/powerpoint/2012/main" timeZoneBias="-420"/>
      </p:ext>
    </p:extLst>
  </p:cm>
  <p:cm authorId="1" dt="2024-07-02T10:56:26.266" idx="40">
    <p:pos x="5795" y="2642"/>
    <p:text>## Lay mentor theo jobtitle va top rating
SELECT 
	u.id, u.name, l.name as location, j.name as jobtitle, u.role_id
	,COALESCE(AVG(f.rating_star),0) as average_rating
FROM [User] u
JOIN Jobtitle j ON  u.jobtitle_id = j.id
JOIN Location l on u.location_id = l.id
LEFT JOIN Program p ON u.id = p.user_id
LEFT JOIN Challenge c ON u.id = c.user_id
LEFT JOIN Course co ON u.id = co.user_id
LEFT JOIN Review f ON f.source_id = p.id OR f.source_id = c.id OR f.source_id = co.id
WHERE u.role_id = (SELECT setting_value FROM GetSettingValue('Role','Mentor') ) and j.name = 'UI/UX Designer'
GROUP BY u.id, u.name, u.location_id,l.name, j.name, u.role_id
ORDER BY average_rating DESC;</p:text>
    <p:extLst>
      <p:ext uri="{C676402C-5697-4E1C-873F-D02D1690AC5C}">
        <p15:threadingInfo xmlns:p15="http://schemas.microsoft.com/office/powerpoint/2012/main" timeZoneBias="-420"/>
      </p:ext>
    </p:extLst>
  </p:cm>
  <p:cm authorId="2" dt="2024-07-10T21:20:39.598" idx="23">
    <p:pos x="6126" y="2605"/>
    <p:text>## Lay theo Jobtitle, location , ten cong ty va top rating
```sql 
SELECT 
	u.id, u.name, l.name as location, u.role_id ,ca.name ,j.name as jobtitle
	,COALESCE(AVG(f.rating_star),0) as average_rating
FROM [User] u
JOIN Jobtitle j ON  u.jobtitle_id = j.id
JOIN Location l on u.location_id = l.id
JOIN experience e ON u.id = e.user_id
JOIN company ca ON e.company_id = ca.id
LEFT JOIN Program p ON u.id = p.user_id
LEFT JOIN Challenge c ON u.id = c.user_id
LEFT JOIN Course co ON u.id = co.user_id
LEFT JOIN Review f ON f.source_id = p.id OR f.source_id = c.id OR f.source_id = co.id
WHERE l.name ='Ho Chi Minh' AND u.role_id = (SELECT setting_value FROM GetSettingValue('Role','Mentor') ) AND j.name ='UI/UX Designer' AND  ca.name = 'bbv'
GROUP BY u.id, u.name, l.name, j.name, u.role_id , ca.name
ORDER BY average_rating DESC;
```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7T10:18:07.789" idx="7">
    <p:pos x="4999" y="962"/>
    <p:text>## lay name , jobtitle , role , totalprogram , avgrating , totalfollowers , totalstudent, totalfeedback  cua mentor
```sql
SELECT 
    u.id,
    u.name,
    j.name AS jobtitle,
    u.location_id,
    u.role_id,
    (SELECT COUNT(*) FROM Program WHERE user_id = u.id) AS total_programs,
    (SELECT COUNT(*) FROM (
         SELECT fm.id
         FROM Review fm
         LEFT JOIN Program p ON fm.source_id = p.id AND p.user_id = u.id
         LEFT JOIN Challenge c ON fm.source_id = c.id AND c.user_id = u.id
         LEFT JOIN Course co ON fm.source_id = co.id AND co.user_id = u.id
         WHERE p.user_id = u.id OR c.user_id = u.id OR co.user_id = u.id
         ) AS feedback_count
     ) AS total_feedback,
    (SELECT COUNT(DISTINCT pu.user_id) 
     FROM Program p 
     JOIN ProgramUser pu ON p.id = pu.program_id 
     WHERE p.user_id = u.id
     ) AS total_students_from_programs,
    (SELECT COUNT(DISTINCT cu.user_id)
     FROM Challenge c 
     JOIN ChallengeUser cu ON c.id = cu.challenge_id
     WHERE c.user_id = u.id
     ) AS total_students_from_challenges,
    (SELECT COUNT(*) FROM FollowUser WHERE followee_id = u.id) AS total_followers,
    (SELECT COALESCE(AVG(fm.rating_star), 0)
     FROM Review fm
     LEFT JOIN Program p ON fm.source_id = p.id AND p.user_id = u.id
     LEFT JOIN Challenge c ON fm.source_id = c.id AND c.user_id = u.id
     LEFT JOIN Course co ON fm.source_id = co.id AND co.user_id = u.id
     WHERE p.user_id = u.id OR c.user_id = u.id OR co.user_id = u.id
     ) AS average_rating
FROM [User] u 
JOIN Jobtitle j ON u.jobtitle_id = j.id
WHERE u.id = '1'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26:52.478" idx="12">
    <p:pos x="4650" y="1879"/>
    <p:text>SELECT 
    p.id,
    p.program_name,
	p.description,
    p.price,
    AVG(f.rating_star) AS total_rating
FROM 
    Review f
JOIN 
    Program p ON f.source_id = p.id
JOIN 
    [User] sender ON f.user_id = sender.id
WHERE 
    p.user_id = '5'
GROUP BY   
    p.id,
    p.program_name,
	p.description,
    p.price
ORDER BY 
    total_rating DESC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09:41:24.644" idx="15">
    <p:pos x="4376" y="3381"/>
    <p:text>## lay experience cua 1 user
```sql
-- First part: Selecting from Experience table
SELECT 
    j.name AS jobtitle,
    c.name AS company_name,
    w.name AS type,
    e.isworking
FROM 
    Experience e
JOIN 
    Company c ON e.company_id = c.id
JOIN 
    Jobtitle j ON e.jobtitle_id = j.id
JOIN 
    WorkingType w ON e.type_id = w.id
WHERE 
    e.user_id = '2'
UNION
-- Second part: Selecting from ProgramUser and Program tables
SELECT 
    p.program_name AS jobtitle,
    u.name AS company_name,
    'Online Program' AS type,
    0 AS isworking
FROM 
    ProgramUser pu
JOIN 
    Program p ON pu.program_id = p.id
JOIN 
    [User] u ON p.user_id = u.id
WHERE 
    pu.user_id = '2' AND pu.status = 'Completed'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8T09:43:23.599" idx="16">
    <p:pos x="4756" y="3399"/>
    <p:text>## lay cert cua 1 user
```sql
SELECT ci.id AS CertID, 
       ci.credentialcode, 
       ci.certified_at, 
       COALESCE(p.program_name, c.name, ch.challenge_name) AS CertName
FROM CredentialIssued ci
JOIN SourceTemplate st ON ci.sourcetemplate_id = st.id
LEFT JOIN Program p ON st.source_id = p.id AND st.sourcetype_id = '1'
LEFT JOIN Course c ON st.source_id = c.id AND st.sourcetype_id = '3'
LEFT JOIN Challenge ch ON st.source_id = ch.id AND st.sourcetype_id = '2'
WHERE ci.user_id = '3'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1:04:55.457" idx="17">
    <p:pos x="5116" y="3396"/>
    <p:text>SELECT 
    fm.user_id,
    fm.rating_star, 
    fm.content,
    CASE 
        WHEN P.program_name IS NOT NULL THEN CONCAT('Program: ', P.program_name)
        WHEN C.challenge_name IS NOT NULL THEN CONCAT('Challenge: ', C.challenge_name)
        WHEN CO.name IS NOT NULL THEN CONCAT('Course: ', CO.name)
    END AS name
FROM Review FM
LEFT JOIN Program P ON FM.source_id = P.id AND fm.source_type_id = '3'
LEFT JOIN Challenge C ON FM.source_id = C.id AND fm.source_type_id = '2'
LEFT JOIN Course CO ON FM.source_id = CO.id AND fm.source_type_id = '1'
WHERE 
    P.user_id = '2' OR 
    C.user_id = '2' OR 
    CO.user_id = '2';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18:57.622" idx="1">
    <p:pos x="4728" y="5341"/>
    <p:text>Select s.name from UserSkill u
JOIN Skill s on u.skill_id = s.id
WHERE user_id = 1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21:11.149" idx="2">
    <p:pos x="4926" y="6185"/>
    <p:text>SELECT un.name,un.img, u.degree FROM Education u 
JOIN University un on u.university_id = un.id
WHERE user_id = 1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42:07.006" idx="3">
    <p:pos x="4815" y="563"/>
    <p:text>SELECT c.name from Program p
JOIN Category c on p.category_id = c.id
WHERE p.user_id = 2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43:47.678" idx="4">
    <p:pos x="4599" y="572"/>
    <p:text>SELECT * FROM [User]  u
WHERE u.id = 2 and u.role_id = (SELECT setting_value FROM GetSettingValue('Role','Mentor') )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45:30.929" idx="5">
    <p:pos x="6701" y="1868"/>
    <p:text>Select a.startAt,a.endAt,p.program_name,p.price from AdsProgram a
JOIN Program p on a.program_id = p.id
WHERE p.user_id = 5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55:58.022" idx="6">
    <p:pos x="6129" y="322"/>
    <p:text>WITH avg_rating AS (
    -- Calculate average rating for each user
    SELECT 
        u.id AS user_id,
        (
            SELECT COALESCE(AVG(fm.rating_star), 0)
            FROM Review fm
            LEFT JOIN Program p ON fm.source_id = p.id AND p.user_id = u.id
            LEFT JOIN Challenge c ON fm.source_id = c.id AND c.user_id = u.id
            LEFT JOIN Course co ON fm.source_id = co.id AND co.user_id = u.id
            WHERE p.user_id = u.id OR c.user_id = u.id OR co.user_id = u.id
        ) AS average_rating
    FROM 
        [User] u 
    JOIN 
        Jobtitle j ON u.jobtitle_id = j.id
),
abc AS (
    -- Calculate completion percentage for each program
    SELECT 
        p.user_id,
        p.id, 
        COUNT(*) AS total_count,
        SUM(CASE WHEN pu.status = 'Completed' THEN 1 ELSE 0 END) AS completed_count,
        ROUND(
            (SUM(CASE WHEN pu.status = 'Completed' THEN 1 ELSE 0 END) * 100.0 / COUNT(*)), 
            2
        ) AS completion_percentage
    FROM 
        ProgramUser pu
    JOIN 
        Program p ON pu.program_id = p.id
    GROUP BY 
        p.user_id,
        p.id
),
avg_comple AS (
    -- Calculate average completion percentage for each user
    SELECT 
        user_id,
        AVG(completion_percentage) AS average_completion_percentage
    FROM 
        abc
    GROUP BY 
        user_id
)
-- Combine average completion percentage and average rating, calculate weighted score, and select top 5
SELECT 
    TOP 5 
    a.user_id,
    (average_completion_percentage * 0.5) + (b.average_rating * 0.5) AS weighted_score
FROM 
    avg_comple a 
JOIN 
    avg_rating b ON a.user_id = b.user_id
ORDER BY 
    weighted_score DESC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8T11:08:53.706" idx="42">
    <p:pos x="4686" y="932"/>
    <p:text>SELECT count(*) from event
WHERE user_id = 1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1:09:11.140" idx="43">
    <p:pos x="5700" y="929"/>
    <p:text>SELECT count(*) as participants from EventUser
Where user_id = 1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1:09:34.726" idx="45">
    <p:pos x="5824" y="2099"/>
    <p:text>SELECT 
    e.*,
    (SELECT COUNT(*) FROM EventUser WHERE event_id = e.id) AS participants
FROM EVENT e
WHERE e.user_id = 1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1:16:37.080" idx="46">
    <p:pos x="6747" y="1010"/>
    <p:text>WITH combined_views AS (
    SELECT views 
    FROM Event
    WHERE user_id = 1
)
SELECT SUM(views) AS total_views
FROM combined_views;</p:text>
    <p:extLst>
      <p:ext uri="{C676402C-5697-4E1C-873F-D02D1690AC5C}">
        <p15:threadingInfo xmlns:p15="http://schemas.microsoft.com/office/powerpoint/2012/main" timeZoneBias="-420"/>
      </p:ext>
    </p:extLst>
  </p:cm>
  <p:cm authorId="2" dt="2024-07-10T21:23:18.884" idx="24">
    <p:pos x="7005" y="1839"/>
    <p:text>SELECT * FROM EVENT
WHERE user_id = 1
ORDER BY createAT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7T10:14:22.719" idx="5">
    <p:pos x="5039" y="1387"/>
    <p:text>## select thong tin co ban cua mentee và số lượng người mentee đang theo dõi
```sql
SELECT 
    u.id,
    u.name,
    j.name as jobtitle,
    l.name as location,
    u.role_id,
    (SELECT COUNT(*) 
     FROM FollowUser 
     WHERE followee_id = u.id) as total_followers
FROM [User] u 
JOIN Jobtitle j ON u.jobtitle_id = j.id
JOIN Location l ON u.location_id = l.id
WHERE u.id = 4 and  u.role_id = (SELECT setting_value FROM GetSettingValue('Role','Mentee') ) 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27:56.802" idx="13">
    <p:pos x="5744" y="3498"/>
    <p:text>SELECT e.degree , u.name , u.img
 from education e
JOIN University u on e.university_id = u.id
WHERE e.user_id = 'U1'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28:21.847" idx="14">
    <p:pos x="5674" y="2442"/>
    <p:text>Select s.name
From Skill s
JOIN UserSkill us on s.id = us.skill_id
JOIN Userr u on us.user_id = u.id
WHERE u.id ='U1'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6:47:03.691" idx="8">
    <p:pos x="5442" y="685"/>
    <p:text>## lay experience cua 1 user
```sql
-- First part: Selecting from Experience table
SELECT 
    j.name AS jobtitle,
    c.name AS company_name,
    w.name AS type,
    e.isworking
FROM 
    Experience e
JOIN 
    Company c ON e.company_id = c.id
JOIN 
    Jobtitle j ON e.jobtitle_id = j.id
JOIN 
    WorkingType w ON e.type_id = w.id
WHERE 
    e.user_id = '2'
UNION
-- Second part: Selecting from ProgramUser and Program tables
SELECT 
    p.program_name AS jobtitle,
    u.name AS company_name,
    'Online Program' AS type,
    0 AS isworking
FROM 
    ProgramUser pu
JOIN 
    Program p ON pu.program_id = p.id
JOIN 
    [User] u ON p.user_id = u.id
WHERE 
    pu.user_id = '2' AND pu.status = 'Completed';
```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6:49:08.590" idx="13">
    <p:pos x="5844" y="697"/>
    <p:text>## lay cert cua 1 user
```sql
SELECT ci.id AS CertID, 
       ci.credentialcode, 
       ci.certified_at, 
       COALESCE(p.program_name, c.name, ch.challenge_name) AS CertName
FROM CredentialIssued ci
JOIN SourceTemplate st ON ci.sourcetemplate_id = st.id
LEFT JOIN Program p ON st.source_id = p.id AND st.sourcetype_id = '1'
LEFT JOIN Course c ON st.source_id = c.id AND st.sourcetype_id = '3'
LEFT JOIN Challenge ch ON st.source_id = ch.id AND st.sourcetype_id = '2'
WHERE ci.user_id = '3';
```</p:text>
    <p:extLst>
      <p:ext uri="{C676402C-5697-4E1C-873F-D02D1690AC5C}">
        <p15:threadingInfo xmlns:p15="http://schemas.microsoft.com/office/powerpoint/2012/main" timeZoneBias="-420"/>
      </p:ext>
    </p:extLst>
  </p:cm>
  <p:cm authorId="2" dt="2024-07-10T20:56:51.984" idx="21">
    <p:pos x="6239" y="717"/>
    <p:text>SELECT m.sender_id , m.rating_star ,m.content FROM MentorReview m WHERE receiver_id = 1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4-07-08T15:36:17.197" idx="16">
    <p:pos x="4560" y="1124"/>
    <p:text>SELECT * FROM [User] u
WHERE u.role_id =  (SELECT setting_value FROM GetSettingValue('Role','Mentor') )</p:text>
    <p:extLst>
      <p:ext uri="{C676402C-5697-4E1C-873F-D02D1690AC5C}">
        <p15:threadingInfo xmlns:p15="http://schemas.microsoft.com/office/powerpoint/2012/main" timeZoneBias="-420"/>
      </p:ext>
    </p:extLst>
  </p:cm>
  <p:cm authorId="2" dt="2024-07-08T15:37:58.969" idx="17">
    <p:pos x="3792" y="1095"/>
    <p:text>SELECT * 
FROM [User] u
ORDER BY u.createAt DESC;</p:text>
    <p:extLst>
      <p:ext uri="{C676402C-5697-4E1C-873F-D02D1690AC5C}">
        <p15:threadingInfo xmlns:p15="http://schemas.microsoft.com/office/powerpoint/2012/main" timeZoneBias="-420"/>
      </p:ext>
    </p:extLst>
  </p:cm>
  <p:cm authorId="2" dt="2024-07-08T15:38:54.027" idx="18">
    <p:pos x="6837" y="1162"/>
    <p:text>SELECT * 
FROM [User] u
WHERE u.name = 'Khoa Nguyen'</p:text>
    <p:extLst>
      <p:ext uri="{C676402C-5697-4E1C-873F-D02D1690AC5C}">
        <p15:threadingInfo xmlns:p15="http://schemas.microsoft.com/office/powerpoint/2012/main" timeZoneBias="-420"/>
      </p:ext>
    </p:extLst>
  </p:cm>
  <p:cm authorId="2" dt="2024-07-08T15:40:54.764" idx="19">
    <p:pos x="5121" y="1550"/>
    <p:text>SELECT u.name , u.createAt,u.role_id, u.status FROM [User] u</p:text>
    <p:extLst>
      <p:ext uri="{C676402C-5697-4E1C-873F-D02D1690AC5C}">
        <p15:threadingInfo xmlns:p15="http://schemas.microsoft.com/office/powerpoint/2012/main" timeZoneBias="-420"/>
      </p:ext>
    </p:extLst>
  </p:cm>
  <p:cm authorId="2" dt="2024-07-08T15:41:10.241" idx="20">
    <p:pos x="4176" y="1097"/>
    <p:text>SELECT u.name , u.createAt,u.role_id, u.status FROM [User] u
WHERE u.status = 1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8T11:32:22.979" idx="23">
    <p:pos x="4872" y="549"/>
    <p:text>SELECT 
		(SELECT COUNT(*) FROM [User]) AS TotalUsers,
    (SELECT COUNT(*) FROM [User]
     WHERE MONTH(createAt) = MONTH(GETDATE()) 
       AND YEAR(createAt) = YEAR(GETDATE())) AS UsersThisMonth,
    ROUND(
        (
            (SELECT COUNT(*) FROM [User]
             WHERE MONTH(createAt) = MONTH(GETDATE()) 
               AND YEAR(createAt) = YEAR(GETDATE())) -
            (SELECT COUNT(*) FROM [User]
             WHERE MONTH(createAt) = MONTH(DATEADD(MONTH, -1, GETDATE())) 
               AND YEAR(createAt) = YEAR(GETDATE()))
        ) / NULLIF((SELECT COUNT(*) FROM [User] 
                    WHERE MONTH(createAt) = MONTH(DATEADD(MONTH, -1, GETDATE())) 
                      AND YEAR(createAt) = YEAR(GETDATE())), 0) * 100, 2
    ) AS PercentageChangeThisMonth,
    (SELECT COUNT(*) FROM [User]
     WHERE DATEPART(ISO_WEEK, createAt) = DATEPART(ISO_WEEK, GETDATE()) 
       AND YEAR(createAt) = YEAR(GETDATE())) AS UsersThisWeek,
    ROUND(
        (
            (SELECT COUNT(*) FROM [User] 
             WHERE DATEPART(ISO_WEEK, createAt) = DATEPART(ISO_WEEK, GETDATE()) 
               AND YEAR(createAt) = YEAR(GETDATE())) -
            (SELECT COUNT(*) FROM [User]
             WHERE DATEPART(ISO_WEEK, createAt) = DATEPART(ISO_WEEK, DATEADD(WEEK, -1, GETDATE())) 
               AND YEAR(createAt) = YEAR(GETDATE()))
        ) / NULLIF((SELECT COUNT(*) FROM [User]
                    WHERE DATEPART(ISO_WEEK, createAt) = DATEPART(ISO_WEEK, DATEADD(WEEK, -1, GETDATE())) 
                      AND YEAR(createAt) = YEAR(GETDATE())), 0) * 100, 2
    ) AS PercentageChangeThisWeek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14:21.630" idx="24">
    <p:pos x="5838" y="475"/>
    <p:text>SELECT 
    -- Total Mentees
    SUM(CASE WHEN role_id = 3 THEN 1 ELSE 0 END) AS TotalMentees,
    -- Total Mentors
    SUM(CASE WHEN role_id = 2 THEN 1 ELSE 0 END) AS TotalMentors,
    -- Percentage of Mentees
    ROUND(
        (SUM(CASE WHEN role_id = 3 THEN 1 ELSE 0 END) * 100.0 / COUNT(*)), 2
    ) AS PercentageMentees,
    -- Percentage of Mentors
    ROUND(
        (SUM(CASE WHEN role_id = 2 THEN 1 ELSE 0 END) * 100.0 / COUNT(*)), 2
    ) AS PercentageMentors
FROM [User]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47:28.391" idx="25">
    <p:pos x="4794" y="1309"/>
    <p:text>SELECT 
    -- Mentors This Month
    (SELECT COUNT(*) FROM [User]
     WHERE role_id = '3') AS TotalMentor,
    -- Percentage Change in Mentors This Month
    CASE
        WHEN (SELECT COUNT(*) FROM [User]
              WHERE role_id = '3' 
                AND MONTH(createAt) = MONTH(DATEADD(MONTH, -1, GETDATE())) 
                AND YEAR(createAt) = YEAR(GETDATE())) = 0 THEN 0
        ELSE ROUND(
            (
                (SELECT COUNT(*) FROM [User]
                 WHERE role_id = '3' 
                   AND MONTH(createAt) = MONTH(GETDATE()) 
                   AND YEAR(createAt) = YEAR(GETDATE())) -
                (SELECT COUNT(*) FROM [User]
                 WHERE role_id = '3' 
                   AND MONTH(createAt) = MONTH(DATEADD(MONTH, -1, GETDATE())) 
                   AND YEAR(createAt) = YEAR(GETDATE()))
            ) * 100.0 / NULLIF(
                (SELECT COUNT(*) FROM [User]
                 WHERE role_id = '3' 
                   AND MONTH(createAt) = MONTH(DATEADD(MONTH, -1, GETDATE())) 
                   AND YEAR(createAt) = YEAR(GETDATE())), 0), 2
        )
    END AS PercentageChangeMentorsThisMonth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52:39.756" idx="26">
    <p:pos x="4866" y="1760"/>
    <p:text>SELECT 
    -- Mentors This Month
    (SELECT COUNT(*) FROM [User]
     WHERE role_id = '2') AS TotalMentor,
    -- Percentage Change in Mentors This Month
    CASE
        WHEN (SELECT COUNT(*) FROM [User]
              WHERE role_id = '2' 
                AND MONTH(createAt) = MONTH(DATEADD(MONTH, -1, GETDATE())) 
                AND YEAR(createAt) = YEAR(GETDATE())) = 0 THEN 0
        ELSE ROUND(
            (
                (SELECT COUNT(*) FROM [User]
                 WHERE role_id = '2' 
                   AND MONTH(createAt) = MONTH(GETDATE()) 
                   AND YEAR(createAt) = YEAR(GETDATE())) -
                (SELECT COUNT(*) FROM [User]
                 WHERE role_id = '2' 
                   AND MONTH(createAt) = MONTH(DATEADD(MONTH, -1, GETDATE())) 
                   AND YEAR(createAt) = YEAR(GETDATE()))
            ) * 100.0 / NULLIF(
                (SELECT COUNT(*) FROM [User]
                 WHERE role_id = '2' 
                   AND MONTH(createAt) = MONTH(DATEADD(MONTH, -1, GETDATE())) 
                   AND YEAR(createAt) = YEAR(GETDATE())), 0), 2
        )
    END AS PercentageChangeMentorsThisMonth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57:01.823" idx="27">
    <p:pos x="5751" y="1323"/>
    <p:text>SELECT 
    -- Total Mentors This Week
    (SELECT COUNT(*) FROM [User] 
     WHERE role_id = '3' 
       AND DATEPART(WEEK, createAt) = DATEPART(WEEK, GETDATE()) 
       AND YEAR(createAt) = YEAR(GETDATE())) AS TotalMentorsThisWeek,
    -- Percentage Change in Mentors This Week vs Last Week
    CASE 
        WHEN (SELECT COUNT(*) FROM [User] 
              WHERE role_id = '3' 
                AND DATEPART(WEEK, createAt) = DATEPART(WEEK, DATEADD(WEEK, -1, GETDATE())) 
                AND YEAR(createAt) = YEAR(DATEADD(WEEK, -1, GETDATE()))) = 0
        THEN 100.00
        ELSE ROUND(
            (
                (SELECT COUNT(*) FROM [User] 
                 WHERE role_id = '3' 
                   AND DATEPART(WEEK, createAt) = DATEPART(WEEK, GETDATE()) 
                   AND YEAR(createAt) = YEAR(GETDATE())) -
                (SELECT COUNT(*) FROM [User] 
                 WHERE role_id = '3' 
                   AND DATEPART(WEEK, createAt) = DATEPART(WEEK, DATEADD(WEEK, -1, GETDATE())) 
                   AND YEAR(createAt) = YEAR(DATEADD(WEEK, -1, GETDATE())))
            ) / NULLIF(
                (SELECT COUNT(*) FROM [User] 
                 WHERE role_id = '3' 
                   AND DATEPART(WEEK, createAt) = DATEPART(WEEK, DATEADD(WEEK, -1, GETDATE())) 
                   AND YEAR(createAt) = YEAR(DATEADD(WEEK, -1, GETDATE()))), 0
            ) * 100, 2)
    END AS PercentageChangeMentorsThisWeek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59:28.546" idx="28">
    <p:pos x="5689" y="1724"/>
    <p:text>SELECT 
    -- Total Mentors This Week
    (SELECT COUNT(*) FROM [User] 
     WHERE role_id = '2' 
       AND DATEPART(WEEK, createAt) = DATEPART(WEEK, GETDATE()) 
       AND YEAR(createAt) = YEAR(GETDATE())) AS TotalMentorsThisWeek,
    -- Percentage Change in Mentors This Week vs Last Week
    CASE 
        WHEN (SELECT COUNT(*) FROM [User] 
              WHERE role_id = '2' 
                AND DATEPART(WEEK, createAt) = DATEPART(WEEK, DATEADD(WEEK, -1, GETDATE())) 
                AND YEAR(createAt) = YEAR(DATEADD(WEEK, -1, GETDATE()))) = 0
        THEN 100.00
        ELSE ROUND(
            (
                (SELECT COUNT(*) FROM [User] 
                 WHERE role_id = '2' 
                   AND DATEPART(WEEK, createAt) = DATEPART(WEEK, GETDATE()) 
                   AND YEAR(createAt) = YEAR(GETDATE())) -
                (SELECT COUNT(*) FROM [User] 
                 WHERE role_id = '2' 
                   AND DATEPART(WEEK, createAt) = DATEPART(WEEK, DATEADD(WEEK, -1, GETDATE())) 
                   AND YEAR(createAt) = YEAR(DATEADD(WEEK, -1, GETDATE())))
            ) / NULLIF(
                (SELECT COUNT(*) FROM [User] 
                 WHERE role_id = '2' 
                   AND DATEPART(WEEK, createAt) = DATEPART(WEEK, DATEADD(WEEK, -1, GETDATE())) 
                   AND YEAR(createAt) = YEAR(DATEADD(WEEK, -1, GETDATE()))), 0
            ) * 100, 2)
    END AS PercentageChangeMentorsThisWeek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5:34:51.414" idx="29">
    <p:pos x="4857" y="2347"/>
    <p:text>SELECT 
    u.id,
    u.name,
    u.location_id,
    j.name AS jobtitle,
    u.role_id,
    COALESCE(AVG(f.rating_star), 0) AS average_rating
FROM [User] u
JOIN Jobtitle j ON u.jobtitle_id = j.id
LEFT JOIN Program p ON u.id = p.user_id
LEFT JOIN Challenge c ON u.id = c.user_id
LEFT JOIN Course co ON u.id = co.user_id
LEFT JOIN Review f ON f.source_id = p.id OR f.source_id = c.id OR f.source_id = co.id
WHERE u.role_id = (SELECT setting_value FROM GetSettingValue('Role','Mentor') )
GROUP BY u.id, u.name, u.location_id, j.name, u.role_id
ORDER BY average_rating DESC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5:41:00.275" idx="34">
    <p:pos x="4742" y="3577"/>
    <p:text>SELECT 
    CASE
        WHEN age BETWEEN 15 AND 20 THEN '15-20'
        WHEN age BETWEEN 21 AND 25 THEN '21-25'
        WHEN age BETWEEN 26 AND 30 THEN '26-30'
        WHEN age BETWEEN 31 AND 35 THEN '31-35'
        ELSE 'Other'
    END AS AgeGroup,
    gender,
    COUNT(*) AS Count
FROM [User]
GROUP BY 
    CASE
        WHEN age BETWEEN 15 AND 20 THEN '15-20'
        WHEN age BETWEEN 21 AND 25 THEN '21-25'
        WHEN age BETWEEN 26 AND 30 THEN '26-30'
        WHEN age BETWEEN 31 AND 35 THEN '31-35'
        ELSE 'Other'
    END,
    gender
ORDER BY AgeGroup, gender;</p:text>
    <p:extLst>
      <p:ext uri="{C676402C-5697-4E1C-873F-D02D1690AC5C}">
        <p15:threadingInfo xmlns:p15="http://schemas.microsoft.com/office/powerpoint/2012/main" timeZoneBias="-420"/>
      </p:ext>
    </p:extLst>
  </p:cm>
  <p:cm authorId="2" dt="2024-07-10T20:57:50.648" idx="22">
    <p:pos x="5705" y="2308"/>
    <p:text>SELECT receiver_id, AVG(rating_star) AS avg_rating
FROM MentorReview
GROUP BY receiver_id
ORDER BY avg_rating DESC</p:text>
    <p:extLst>
      <p:ext uri="{C676402C-5697-4E1C-873F-D02D1690AC5C}">
        <p15:threadingInfo xmlns:p15="http://schemas.microsoft.com/office/powerpoint/2012/main" timeZoneBias="-420"/>
      </p:ext>
    </p:extLst>
  </p:cm>
</p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10/07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10.07.2024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vi-VN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## select thong tin co ban cua mentee và số lượng người mentee đang theo dõ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sq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u.id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u.nam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j.name as jobtitl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l.name as location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r.name as rol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(SELECT COUNT(*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FROM Follow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WHERE follower_id = 'U3') as total_follow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FROM Userr u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Jobtitle j on u.jobtitle_id = j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Location l on u.location_id = l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Role r on u.role_id = r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WHERE u.id = 'U3’;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## lay cert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ua</a:t>
            </a:r>
            <a:r>
              <a:rPr lang="en-US" sz="1200" b="0" kern="0" noProof="0" dirty="0">
                <a:solidFill>
                  <a:schemeClr val="bg1"/>
                </a:solidFill>
              </a:rPr>
              <a:t> 1 user</a:t>
            </a:r>
            <a:endParaRPr lang="vi-VN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sq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SELECT ci.id AS CertID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i.credentialcode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i.certified_at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OALESCE(p.name, c.name, ch.name) AS CertNam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FROM CredentialIssued c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SourceTemplate st ON ci.sourcetemplate_id = st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Program p ON st.source_id = p.id AND st.sourcetype_id = 'S3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Course c ON st.source_id = c.id AND st.sourcetype_id = 'S1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Challenge ch ON st.source_id = ch.id AND st.sourcetype_id = 'S2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WHERE ci.user_id = 'U3'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## lay experience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ua</a:t>
            </a:r>
            <a:r>
              <a:rPr lang="en-US" sz="1200" b="0" kern="0" noProof="0" dirty="0">
                <a:solidFill>
                  <a:schemeClr val="bg1"/>
                </a:solidFill>
              </a:rPr>
              <a:t> 1 us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sql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j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c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ompany_nam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type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FRO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Experience 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Company c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company_id</a:t>
            </a:r>
            <a:r>
              <a:rPr lang="en-US" sz="1200" b="0" kern="0" noProof="0" dirty="0">
                <a:solidFill>
                  <a:schemeClr val="bg1"/>
                </a:solidFill>
              </a:rPr>
              <a:t> = c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	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 j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jobtitle_id</a:t>
            </a:r>
            <a:r>
              <a:rPr lang="en-US" sz="1200" b="0" kern="0" noProof="0" dirty="0">
                <a:solidFill>
                  <a:schemeClr val="bg1"/>
                </a:solidFill>
              </a:rPr>
              <a:t> = j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WHE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user_id</a:t>
            </a:r>
            <a:r>
              <a:rPr lang="en-US" sz="1200" b="0" kern="0" noProof="0" dirty="0">
                <a:solidFill>
                  <a:schemeClr val="bg1"/>
                </a:solidFill>
              </a:rPr>
              <a:t> = 'U4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UN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p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u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ompany_nam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'Training' AS typ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FRO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rogramUser</a:t>
            </a:r>
            <a:r>
              <a:rPr lang="en-US" sz="1200" b="0" kern="0" noProof="0" dirty="0">
                <a:solidFill>
                  <a:schemeClr val="bg1"/>
                </a:solidFill>
              </a:rPr>
              <a:t>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Program p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program_id</a:t>
            </a:r>
            <a:r>
              <a:rPr lang="en-US" sz="1200" b="0" kern="0" noProof="0" dirty="0">
                <a:solidFill>
                  <a:schemeClr val="bg1"/>
                </a:solidFill>
              </a:rPr>
              <a:t> = p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Userr</a:t>
            </a:r>
            <a:r>
              <a:rPr lang="en-US" sz="1200" b="0" kern="0" noProof="0" dirty="0">
                <a:solidFill>
                  <a:schemeClr val="bg1"/>
                </a:solidFill>
              </a:rPr>
              <a:t> u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.mentor_id</a:t>
            </a:r>
            <a:r>
              <a:rPr lang="en-US" sz="1200" b="0" kern="0" noProof="0" dirty="0">
                <a:solidFill>
                  <a:schemeClr val="bg1"/>
                </a:solidFill>
              </a:rPr>
              <a:t> = u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WHE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user_id</a:t>
            </a:r>
            <a:r>
              <a:rPr lang="en-US" sz="1200" b="0" kern="0" noProof="0" dirty="0">
                <a:solidFill>
                  <a:schemeClr val="bg1"/>
                </a:solidFill>
              </a:rPr>
              <a:t> = 'U4' and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status</a:t>
            </a:r>
            <a:r>
              <a:rPr lang="en-US" sz="1200" b="0" kern="0" noProof="0" dirty="0">
                <a:solidFill>
                  <a:schemeClr val="bg1"/>
                </a:solidFill>
              </a:rPr>
              <a:t> ='Completed'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361078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vi-VN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## select thong tin co ban cua mentee và số lượng người mentee đang theo dõ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sq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u.id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u.nam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j.name as jobtitl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l.name as location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r.name as rol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(SELECT COUNT(*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FROM Follow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WHERE follower_id = 'U3') as total_follow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FROM Userr u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Jobtitle j on u.jobtitle_id = j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Location l on u.location_id = l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Role r on u.role_id = r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WHERE u.id = 'U3’;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## lay cert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ua</a:t>
            </a:r>
            <a:r>
              <a:rPr lang="en-US" sz="1200" b="0" kern="0" noProof="0" dirty="0">
                <a:solidFill>
                  <a:schemeClr val="bg1"/>
                </a:solidFill>
              </a:rPr>
              <a:t> 1 user</a:t>
            </a:r>
            <a:endParaRPr lang="vi-VN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sq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SELECT ci.id AS CertID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i.credentialcode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i.certified_at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OALESCE(p.name, c.name, ch.name) AS CertNam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FROM CredentialIssued c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SourceTemplate st ON ci.sourcetemplate_id = st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Program p ON st.source_id = p.id AND st.sourcetype_id = 'S3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Course c ON st.source_id = c.id AND st.sourcetype_id = 'S1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Challenge ch ON st.source_id = ch.id AND st.sourcetype_id = 'S2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WHERE ci.user_id = 'U3'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## lay experience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ua</a:t>
            </a:r>
            <a:r>
              <a:rPr lang="en-US" sz="1200" b="0" kern="0" noProof="0" dirty="0">
                <a:solidFill>
                  <a:schemeClr val="bg1"/>
                </a:solidFill>
              </a:rPr>
              <a:t> 1 us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sql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j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c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ompany_nam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type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FRO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Experience 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Company c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company_id</a:t>
            </a:r>
            <a:r>
              <a:rPr lang="en-US" sz="1200" b="0" kern="0" noProof="0" dirty="0">
                <a:solidFill>
                  <a:schemeClr val="bg1"/>
                </a:solidFill>
              </a:rPr>
              <a:t> = c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	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 j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jobtitle_id</a:t>
            </a:r>
            <a:r>
              <a:rPr lang="en-US" sz="1200" b="0" kern="0" noProof="0" dirty="0">
                <a:solidFill>
                  <a:schemeClr val="bg1"/>
                </a:solidFill>
              </a:rPr>
              <a:t> = j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WHE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user_id</a:t>
            </a:r>
            <a:r>
              <a:rPr lang="en-US" sz="1200" b="0" kern="0" noProof="0" dirty="0">
                <a:solidFill>
                  <a:schemeClr val="bg1"/>
                </a:solidFill>
              </a:rPr>
              <a:t> = 'U4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UN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p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u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ompany_nam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'Training' AS typ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FRO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rogramUser</a:t>
            </a:r>
            <a:r>
              <a:rPr lang="en-US" sz="1200" b="0" kern="0" noProof="0" dirty="0">
                <a:solidFill>
                  <a:schemeClr val="bg1"/>
                </a:solidFill>
              </a:rPr>
              <a:t>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Program p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program_id</a:t>
            </a:r>
            <a:r>
              <a:rPr lang="en-US" sz="1200" b="0" kern="0" noProof="0" dirty="0">
                <a:solidFill>
                  <a:schemeClr val="bg1"/>
                </a:solidFill>
              </a:rPr>
              <a:t> = p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Userr</a:t>
            </a:r>
            <a:r>
              <a:rPr lang="en-US" sz="1200" b="0" kern="0" noProof="0" dirty="0">
                <a:solidFill>
                  <a:schemeClr val="bg1"/>
                </a:solidFill>
              </a:rPr>
              <a:t> u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.mentor_id</a:t>
            </a:r>
            <a:r>
              <a:rPr lang="en-US" sz="1200" b="0" kern="0" noProof="0" dirty="0">
                <a:solidFill>
                  <a:schemeClr val="bg1"/>
                </a:solidFill>
              </a:rPr>
              <a:t> = u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WHE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user_id</a:t>
            </a:r>
            <a:r>
              <a:rPr lang="en-US" sz="1200" b="0" kern="0" noProof="0" dirty="0">
                <a:solidFill>
                  <a:schemeClr val="bg1"/>
                </a:solidFill>
              </a:rPr>
              <a:t> = 'U4' and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status</a:t>
            </a:r>
            <a:r>
              <a:rPr lang="en-US" sz="1200" b="0" kern="0" noProof="0" dirty="0">
                <a:solidFill>
                  <a:schemeClr val="bg1"/>
                </a:solidFill>
              </a:rPr>
              <a:t> ='Completed'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410513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34916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274903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5051750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783931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739733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080599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056125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360615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878461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2174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448249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Ở Statistics: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nếu</a:t>
            </a:r>
            <a:r>
              <a:rPr lang="en-GB" sz="1200" b="0" kern="0" noProof="0" dirty="0">
                <a:solidFill>
                  <a:schemeClr val="bg1"/>
                </a:solidFill>
              </a:rPr>
              <a:t> Total Post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được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hống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kê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heo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hời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gian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đã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họn</a:t>
            </a:r>
            <a:r>
              <a:rPr lang="en-GB" sz="1200" b="0" kern="0" noProof="0" dirty="0">
                <a:solidFill>
                  <a:schemeClr val="bg1"/>
                </a:solidFill>
              </a:rPr>
              <a:t>,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vậy</a:t>
            </a:r>
            <a:r>
              <a:rPr lang="en-GB" sz="1200" b="0" kern="0" noProof="0" dirty="0">
                <a:solidFill>
                  <a:schemeClr val="bg1"/>
                </a:solidFill>
              </a:rPr>
              <a:t> +15%, +32%, -54% from last week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ó</a:t>
            </a:r>
            <a:r>
              <a:rPr lang="en-GB" sz="1200" b="0" kern="0" noProof="0" dirty="0">
                <a:solidFill>
                  <a:schemeClr val="bg1"/>
                </a:solidFill>
              </a:rPr>
              <a:t> ý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nghĩa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gì</a:t>
            </a:r>
            <a:r>
              <a:rPr lang="en-GB" sz="1200" b="0" kern="0" noProof="0" dirty="0">
                <a:solidFill>
                  <a:schemeClr val="bg1"/>
                </a:solidFill>
              </a:rPr>
              <a:t>,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ính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như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hế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nào</a:t>
            </a:r>
            <a:r>
              <a:rPr lang="en-GB" sz="1200" b="0" kern="0" noProof="0" dirty="0">
                <a:solidFill>
                  <a:schemeClr val="bg1"/>
                </a:solidFill>
              </a:rPr>
              <a:t>?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Total views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là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ổng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lượt</a:t>
            </a:r>
            <a:r>
              <a:rPr lang="en-GB" sz="1200" b="0" kern="0" noProof="0" dirty="0">
                <a:solidFill>
                  <a:schemeClr val="bg1"/>
                </a:solidFill>
              </a:rPr>
              <a:t> view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ủa</a:t>
            </a:r>
            <a:r>
              <a:rPr lang="en-GB" sz="1200" b="0" kern="0" noProof="0" dirty="0">
                <a:solidFill>
                  <a:schemeClr val="bg1"/>
                </a:solidFill>
              </a:rPr>
              <a:t> post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và</a:t>
            </a:r>
            <a:r>
              <a:rPr lang="en-GB" sz="1200" b="0" kern="0" noProof="0" dirty="0">
                <a:solidFill>
                  <a:schemeClr val="bg1"/>
                </a:solidFill>
              </a:rPr>
              <a:t> event,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sao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không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ách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hành</a:t>
            </a:r>
            <a:r>
              <a:rPr lang="en-GB" sz="1200" b="0" kern="0" noProof="0" dirty="0">
                <a:solidFill>
                  <a:schemeClr val="bg1"/>
                </a:solidFill>
              </a:rPr>
              <a:t> 2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để</a:t>
            </a:r>
            <a:r>
              <a:rPr lang="en-GB" sz="1200" b="0" kern="0" noProof="0" dirty="0">
                <a:solidFill>
                  <a:schemeClr val="bg1"/>
                </a:solidFill>
              </a:rPr>
              <a:t> mentor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biết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số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lượng</a:t>
            </a:r>
            <a:r>
              <a:rPr lang="en-GB" sz="1200" b="0" kern="0" noProof="0" dirty="0">
                <a:solidFill>
                  <a:schemeClr val="bg1"/>
                </a:solidFill>
              </a:rPr>
              <a:t> view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ủa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ừng</a:t>
            </a:r>
            <a:r>
              <a:rPr lang="en-GB" sz="1200" b="0" kern="0" noProof="0" dirty="0">
                <a:solidFill>
                  <a:schemeClr val="bg1"/>
                </a:solidFill>
              </a:rPr>
              <a:t> post/ev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Ở My Posts: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ột</a:t>
            </a:r>
            <a:r>
              <a:rPr lang="en-GB" sz="1200" b="0" kern="0" noProof="0" dirty="0">
                <a:solidFill>
                  <a:schemeClr val="bg1"/>
                </a:solidFill>
              </a:rPr>
              <a:t> new sub, opened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là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gì</a:t>
            </a:r>
            <a:r>
              <a:rPr lang="en-GB" sz="1200" b="0" kern="0" noProof="0" dirty="0">
                <a:solidFill>
                  <a:schemeClr val="bg1"/>
                </a:solidFill>
              </a:rPr>
              <a:t>?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664640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92971C-5B5B-A6FA-F013-3425E23F0398}"/>
              </a:ext>
            </a:extLst>
          </p:cNvPr>
          <p:cNvGrpSpPr/>
          <p:nvPr userDrawn="1"/>
        </p:nvGrpSpPr>
        <p:grpSpPr>
          <a:xfrm>
            <a:off x="2351237" y="3370961"/>
            <a:ext cx="7489526" cy="1214079"/>
            <a:chOff x="2351237" y="4661428"/>
            <a:chExt cx="7489526" cy="1214079"/>
          </a:xfrm>
          <a:solidFill>
            <a:schemeClr val="bg1"/>
          </a:solidFill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C4000F00-176B-F700-F10A-6EE4FA8D75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351237" y="4661428"/>
              <a:ext cx="7489526" cy="432000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2E4C65FC-40D0-028A-67FF-E45E9578E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362923" y="5641507"/>
              <a:ext cx="5466154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3.xml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4.xml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5.xml"/><Relationship Id="rId4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6.xml"/><Relationship Id="rId4" Type="http://schemas.openxmlformats.org/officeDocument/2006/relationships/image" Target="../media/image2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9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1.xml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2.xml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330" y="184124"/>
            <a:ext cx="3527555" cy="1203649"/>
          </a:xfrm>
        </p:spPr>
        <p:txBody>
          <a:bodyPr/>
          <a:lstStyle/>
          <a:p>
            <a:r>
              <a:rPr lang="en-GB" noProof="0" dirty="0"/>
              <a:t>Mentor Manage</a:t>
            </a:r>
            <a:r>
              <a:rPr lang="vi-VN" noProof="0" dirty="0"/>
              <a:t> </a:t>
            </a:r>
            <a:r>
              <a:rPr lang="en-GB" noProof="0" dirty="0"/>
              <a:t>Event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5F15F3F-9649-8729-AAC8-D32E4BE3B2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3902" y="1497185"/>
            <a:ext cx="4688255" cy="386362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D5E0D10-5EE9-3301-FA62-CE857FCF44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91446" y="302771"/>
            <a:ext cx="7030484" cy="5058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6693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346" y="10230"/>
            <a:ext cx="3020174" cy="558351"/>
          </a:xfrm>
        </p:spPr>
        <p:txBody>
          <a:bodyPr/>
          <a:lstStyle/>
          <a:p>
            <a:r>
              <a:rPr lang="en-GB" noProof="0" dirty="0"/>
              <a:t>Mentee Profi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EBD0D89-4898-60F1-4E40-854327E098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2498" y="1038687"/>
            <a:ext cx="5513501" cy="52378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119D12F-F47B-102E-3BA2-B262F292DB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5999" y="10230"/>
            <a:ext cx="6094900" cy="6776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0961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21" y="208193"/>
            <a:ext cx="3839888" cy="517671"/>
          </a:xfrm>
        </p:spPr>
        <p:txBody>
          <a:bodyPr/>
          <a:lstStyle/>
          <a:p>
            <a:r>
              <a:rPr lang="en-GB" dirty="0"/>
              <a:t>Admin</a:t>
            </a:r>
            <a:r>
              <a:rPr lang="en-GB" noProof="0" dirty="0"/>
              <a:t> Manage User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1711067-84AF-8732-3637-A92086491B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44503" y="826354"/>
            <a:ext cx="6947497" cy="4892195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50DB656-070C-433B-CEF9-BC3BBF14A1F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1346" y="1589028"/>
            <a:ext cx="4662757" cy="4034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706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985" y="104697"/>
            <a:ext cx="3124940" cy="1280220"/>
          </a:xfrm>
        </p:spPr>
        <p:txBody>
          <a:bodyPr/>
          <a:lstStyle/>
          <a:p>
            <a:r>
              <a:rPr lang="en-GB" dirty="0"/>
              <a:t>Admin/Dashboard</a:t>
            </a:r>
            <a:endParaRPr lang="en-GB" noProof="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9D5BC6B-F431-47B9-3E7A-4CF1032A64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47846" y="0"/>
            <a:ext cx="4281114" cy="700140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484D0B9-4FE7-06C7-B1AA-633D73F2F8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0521" y="1475044"/>
            <a:ext cx="5385479" cy="4659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219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984" y="104697"/>
            <a:ext cx="4253735" cy="901143"/>
          </a:xfrm>
        </p:spPr>
        <p:txBody>
          <a:bodyPr/>
          <a:lstStyle/>
          <a:p>
            <a:r>
              <a:rPr lang="en-GB" dirty="0"/>
              <a:t>Questions &amp; Answers</a:t>
            </a:r>
            <a:endParaRPr lang="en-GB" noProof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5343304-832D-A30F-4F5F-952B70938F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18750" y="1055385"/>
            <a:ext cx="4754499" cy="4747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826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A238B87-108C-03C1-22E9-6406602AA1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7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7083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6465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Blurry close-up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6EFD7AD0-68E0-8E59-4AEA-D1B60E12CAB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3032F4F1-3FB0-23B8-1A5F-348E90DB401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Tai Dang |  </a:t>
            </a:r>
            <a:r>
              <a:rPr lang="en-US" dirty="0"/>
              <a:t>24.06.2024</a:t>
            </a:r>
            <a:endParaRPr lang="en-GB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FB47277-216F-802E-6C6C-68C8BB1FEE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1999" y="4851918"/>
            <a:ext cx="11331375" cy="871572"/>
          </a:xfrm>
        </p:spPr>
        <p:txBody>
          <a:bodyPr/>
          <a:lstStyle/>
          <a:p>
            <a:r>
              <a:rPr lang="en-US" dirty="0"/>
              <a:t>Mentoring Hub Subsystem Output</a:t>
            </a:r>
          </a:p>
        </p:txBody>
      </p:sp>
    </p:spTree>
    <p:extLst>
      <p:ext uri="{BB962C8B-B14F-4D97-AF65-F5344CB8AC3E}">
        <p14:creationId xmlns:p14="http://schemas.microsoft.com/office/powerpoint/2010/main" val="2583219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270366"/>
            <a:ext cx="5232000" cy="6522319"/>
          </a:xfrm>
        </p:spPr>
        <p:txBody>
          <a:bodyPr/>
          <a:lstStyle/>
          <a:p>
            <a:pPr marL="0" indent="0">
              <a:buNone/>
            </a:pPr>
            <a:r>
              <a:rPr lang="en-GB" noProof="0" dirty="0">
                <a:solidFill>
                  <a:srgbClr val="FF0000"/>
                </a:solidFill>
              </a:rPr>
              <a:t>Agenda</a:t>
            </a:r>
          </a:p>
          <a:p>
            <a:r>
              <a:rPr lang="en-GB" dirty="0" err="1"/>
              <a:t>Mindmap</a:t>
            </a:r>
            <a:endParaRPr lang="en-GB" dirty="0"/>
          </a:p>
          <a:p>
            <a:r>
              <a:rPr lang="en-GB" noProof="0" dirty="0" err="1"/>
              <a:t>Usecase</a:t>
            </a:r>
            <a:r>
              <a:rPr lang="en-GB" noProof="0" dirty="0"/>
              <a:t> diagram</a:t>
            </a:r>
          </a:p>
          <a:p>
            <a:r>
              <a:rPr lang="en-GB" noProof="0" dirty="0"/>
              <a:t>UI</a:t>
            </a:r>
            <a:r>
              <a:rPr lang="en-GB" dirty="0"/>
              <a:t>&amp;</a:t>
            </a:r>
            <a:r>
              <a:rPr lang="en-GB" noProof="0" dirty="0"/>
              <a:t>UX design/Database Design</a:t>
            </a:r>
          </a:p>
          <a:p>
            <a:r>
              <a:rPr lang="en-GB" dirty="0"/>
              <a:t>Q&amp;A</a:t>
            </a:r>
            <a:endParaRPr lang="en-GB" noProof="0" dirty="0"/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350114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A4B90ED-57B9-D7D6-8D22-C5C696783E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4602" y="1585895"/>
            <a:ext cx="11226186" cy="3686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5597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D28FEFB-C0E6-9F0B-A582-EFD53135F8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0058" y="897592"/>
            <a:ext cx="9033723" cy="4962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233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41801978-6E6B-D4CA-9A35-85816E6E0BA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3321" y="0"/>
            <a:ext cx="5089667" cy="685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0019947F-40B8-99E5-8A40-562D01138F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295" y="92086"/>
            <a:ext cx="4056026" cy="1203649"/>
          </a:xfrm>
        </p:spPr>
        <p:txBody>
          <a:bodyPr/>
          <a:lstStyle/>
          <a:p>
            <a:r>
              <a:rPr lang="en-GB" dirty="0"/>
              <a:t>Use case diagram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40695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270366"/>
            <a:ext cx="5232000" cy="6522319"/>
          </a:xfrm>
        </p:spPr>
        <p:txBody>
          <a:bodyPr/>
          <a:lstStyle/>
          <a:p>
            <a:r>
              <a:rPr lang="en-GB" noProof="0" dirty="0"/>
              <a:t>Mentor List</a:t>
            </a:r>
          </a:p>
          <a:p>
            <a:r>
              <a:rPr lang="en-GB" noProof="0" dirty="0"/>
              <a:t>Mentor Profile  </a:t>
            </a:r>
          </a:p>
          <a:p>
            <a:r>
              <a:rPr lang="en-GB" dirty="0"/>
              <a:t>Mentor manage followers</a:t>
            </a:r>
            <a:endParaRPr lang="en-GB" noProof="0" dirty="0"/>
          </a:p>
          <a:p>
            <a:r>
              <a:rPr lang="en-GB" dirty="0"/>
              <a:t>Mentor manage Post/Event</a:t>
            </a:r>
          </a:p>
          <a:p>
            <a:r>
              <a:rPr lang="en-GB" noProof="0" dirty="0"/>
              <a:t>Mentee Profile</a:t>
            </a:r>
            <a:endParaRPr lang="en-GB" dirty="0"/>
          </a:p>
          <a:p>
            <a:r>
              <a:rPr lang="en-GB" noProof="0" dirty="0"/>
              <a:t>Admin Dashboard</a:t>
            </a:r>
          </a:p>
          <a:p>
            <a:endParaRPr lang="en-GB" noProof="0" dirty="0"/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378216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1" y="0"/>
            <a:ext cx="2217895" cy="1203649"/>
          </a:xfrm>
        </p:spPr>
        <p:txBody>
          <a:bodyPr/>
          <a:lstStyle/>
          <a:p>
            <a:r>
              <a:rPr lang="en-GB" noProof="0" dirty="0"/>
              <a:t>Mentor </a:t>
            </a:r>
            <a:r>
              <a:rPr lang="en-GB" dirty="0"/>
              <a:t>List</a:t>
            </a:r>
            <a:endParaRPr lang="en-GB" noProof="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11C8633-6442-9F96-A8DB-EA53EE5B03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07" y="1385078"/>
            <a:ext cx="5827594" cy="408784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2C53CAE-3A09-E014-A369-99BCF20AAB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54965" y="0"/>
            <a:ext cx="5151284" cy="7286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423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130" y="176970"/>
            <a:ext cx="4291770" cy="451680"/>
          </a:xfrm>
        </p:spPr>
        <p:txBody>
          <a:bodyPr/>
          <a:lstStyle/>
          <a:p>
            <a:r>
              <a:rPr lang="en-GB" dirty="0"/>
              <a:t>Mentor Profile </a:t>
            </a:r>
            <a:endParaRPr lang="en-GB" noProof="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960B84E-A05A-46F4-84F4-12B81239F30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388" y="775374"/>
            <a:ext cx="5297612" cy="608262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C902B36-D76C-6BD9-D56E-0A6B7F388F0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59353" y="0"/>
            <a:ext cx="6032647" cy="10938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6904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9D85BB11-82AC-40C5-AB89-10825A534299}" vid="{E763B3D4-954F-486E-818A-3817462906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89D6FEC8D34D4D9510463D759DD364" ma:contentTypeVersion="18" ma:contentTypeDescription="Create a new document." ma:contentTypeScope="" ma:versionID="3554442a8ab4924b11751f96199d6255">
  <xsd:schema xmlns:xsd="http://www.w3.org/2001/XMLSchema" xmlns:xs="http://www.w3.org/2001/XMLSchema" xmlns:p="http://schemas.microsoft.com/office/2006/metadata/properties" xmlns:ns2="680405e6-b67e-4188-afe9-1f6c4cc802d0" xmlns:ns3="5a0a5fd8-e554-4dec-ae9e-1a78583e7e41" targetNamespace="http://schemas.microsoft.com/office/2006/metadata/properties" ma:root="true" ma:fieldsID="61344ac0bc709610c06f61e2d106e724" ns2:_="" ns3:_="">
    <xsd:import namespace="680405e6-b67e-4188-afe9-1f6c4cc802d0"/>
    <xsd:import namespace="5a0a5fd8-e554-4dec-ae9e-1a78583e7e4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0405e6-b67e-4188-afe9-1f6c4cc802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bb97658-b20a-4042-a651-e28394847b4b}" ma:internalName="TaxCatchAll" ma:showField="CatchAllData" ma:web="680405e6-b67e-4188-afe9-1f6c4cc802d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a5fd8-e554-4dec-ae9e-1a78583e7e4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a0a5fd8-e554-4dec-ae9e-1a78583e7e41">
      <Terms xmlns="http://schemas.microsoft.com/office/infopath/2007/PartnerControls"/>
    </lcf76f155ced4ddcb4097134ff3c332f>
    <TaxCatchAll xmlns="680405e6-b67e-4188-afe9-1f6c4cc802d0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9B8CF79-7ADA-435D-8DBA-60E58E5DFF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0405e6-b67e-4188-afe9-1f6c4cc802d0"/>
    <ds:schemaRef ds:uri="5a0a5fd8-e554-4dec-ae9e-1a78583e7e4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B0F42E2-0E6A-4852-8EA1-9F7D6F366003}">
  <ds:schemaRefs>
    <ds:schemaRef ds:uri="http://purl.org/dc/elements/1.1/"/>
    <ds:schemaRef ds:uri="680405e6-b67e-4188-afe9-1f6c4cc802d0"/>
    <ds:schemaRef ds:uri="http://schemas.microsoft.com/office/2006/documentManagement/types"/>
    <ds:schemaRef ds:uri="http://schemas.microsoft.com/office/infopath/2007/PartnerControls"/>
    <ds:schemaRef ds:uri="http://purl.org/dc/dcmitype/"/>
    <ds:schemaRef ds:uri="http://schemas.microsoft.com/office/2006/metadata/properties"/>
    <ds:schemaRef ds:uri="5a0a5fd8-e554-4dec-ae9e-1a78583e7e41"/>
    <ds:schemaRef ds:uri="http://schemas.openxmlformats.org/package/2006/metadata/core-properties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6046</TotalTime>
  <Words>955</Words>
  <Application>Microsoft Office PowerPoint</Application>
  <PresentationFormat>Widescreen</PresentationFormat>
  <Paragraphs>157</Paragraphs>
  <Slides>16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0" baseType="lpstr">
      <vt:lpstr>Arial</vt:lpstr>
      <vt:lpstr>Calibri</vt:lpstr>
      <vt:lpstr>bbv template EN</vt:lpstr>
      <vt:lpstr>think-cell Slide</vt:lpstr>
      <vt:lpstr>PowerPoint Presentation</vt:lpstr>
      <vt:lpstr>Mentoring Hub Subsystem Output</vt:lpstr>
      <vt:lpstr>PowerPoint Presentation</vt:lpstr>
      <vt:lpstr>PowerPoint Presentation</vt:lpstr>
      <vt:lpstr>PowerPoint Presentation</vt:lpstr>
      <vt:lpstr>Use case diagram</vt:lpstr>
      <vt:lpstr>PowerPoint Presentation</vt:lpstr>
      <vt:lpstr>Mentor List</vt:lpstr>
      <vt:lpstr>Mentor Profile </vt:lpstr>
      <vt:lpstr>Mentor Manage Event </vt:lpstr>
      <vt:lpstr>Mentee Profile</vt:lpstr>
      <vt:lpstr>Admin Manage User</vt:lpstr>
      <vt:lpstr>Admin/Dashboard</vt:lpstr>
      <vt:lpstr>Questions &amp; Answer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bv Vietnam Presentation</dc:title>
  <dc:creator>Duong Trung Luu</dc:creator>
  <cp:lastModifiedBy>Dang Tai</cp:lastModifiedBy>
  <cp:revision>156</cp:revision>
  <dcterms:created xsi:type="dcterms:W3CDTF">2023-03-02T06:20:39Z</dcterms:created>
  <dcterms:modified xsi:type="dcterms:W3CDTF">2024-07-10T14:24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89D6FEC8D34D4D9510463D759DD364</vt:lpwstr>
  </property>
  <property fmtid="{D5CDD505-2E9C-101B-9397-08002B2CF9AE}" pid="3" name="MediaServiceImageTags">
    <vt:lpwstr/>
  </property>
</Properties>
</file>